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0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ert text her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FF-4242-8783-CC61BAC49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20784616"/>
        <c:axId val="520784288"/>
      </c:barChart>
      <c:catAx>
        <c:axId val="520784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288"/>
        <c:crosses val="autoZero"/>
        <c:auto val="1"/>
        <c:lblAlgn val="ctr"/>
        <c:lblOffset val="100"/>
        <c:noMultiLvlLbl val="0"/>
      </c:catAx>
      <c:valAx>
        <c:axId val="520784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0784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5B4A9-BE1E-14E1-50E7-6C2CEA939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1B69A-9090-5767-EC81-022EE14CC2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1B69A-9090-5767-EC81-022EE14CC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AEDC2-3942-DC9D-9928-633637A9D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se Study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072146A-1F0F-AA46-2F8A-3D79253EDE2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7F576B-20FA-C7C4-C39C-4D455CEAFB3E}"/>
              </a:ext>
            </a:extLst>
          </p:cNvPr>
          <p:cNvGrpSpPr/>
          <p:nvPr/>
        </p:nvGrpSpPr>
        <p:grpSpPr>
          <a:xfrm>
            <a:off x="4176717" y="1372038"/>
            <a:ext cx="3853073" cy="4619790"/>
            <a:chOff x="4176717" y="1476210"/>
            <a:chExt cx="3853073" cy="3453855"/>
          </a:xfrm>
        </p:grpSpPr>
        <p:cxnSp>
          <p:nvCxnSpPr>
            <p:cNvPr id="3" name="Shape1_20210621_181029">
              <a:extLst>
                <a:ext uri="{FF2B5EF4-FFF2-40B4-BE49-F238E27FC236}">
                  <a16:creationId xmlns:a16="http://schemas.microsoft.com/office/drawing/2014/main" id="{6E4ECB48-F0CC-67AA-CD5C-AC650F2DA86E}"/>
                </a:ext>
              </a:extLst>
            </p:cNvPr>
            <p:cNvCxnSpPr>
              <a:cxnSpLocks/>
            </p:cNvCxnSpPr>
            <p:nvPr/>
          </p:nvCxnSpPr>
          <p:spPr>
            <a:xfrm>
              <a:off x="8029790" y="1476210"/>
              <a:ext cx="0" cy="345385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hape0_20210621_181029">
              <a:extLst>
                <a:ext uri="{FF2B5EF4-FFF2-40B4-BE49-F238E27FC236}">
                  <a16:creationId xmlns:a16="http://schemas.microsoft.com/office/drawing/2014/main" id="{BD82938D-CDB1-FAE3-7630-888DDC100CAF}"/>
                </a:ext>
              </a:extLst>
            </p:cNvPr>
            <p:cNvCxnSpPr>
              <a:cxnSpLocks/>
            </p:cNvCxnSpPr>
            <p:nvPr/>
          </p:nvCxnSpPr>
          <p:spPr>
            <a:xfrm>
              <a:off x="4176717" y="1476210"/>
              <a:ext cx="0" cy="345385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hape1_20220518_131534">
            <a:extLst>
              <a:ext uri="{FF2B5EF4-FFF2-40B4-BE49-F238E27FC236}">
                <a16:creationId xmlns:a16="http://schemas.microsoft.com/office/drawing/2014/main" id="{A3B8AE86-4C9E-8791-E672-C9EB24F818E7}"/>
              </a:ext>
            </a:extLst>
          </p:cNvPr>
          <p:cNvSpPr/>
          <p:nvPr/>
        </p:nvSpPr>
        <p:spPr>
          <a:xfrm>
            <a:off x="4297133" y="1372038"/>
            <a:ext cx="3608583" cy="4405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0" name="Shape0_20210621_180903">
            <a:extLst>
              <a:ext uri="{FF2B5EF4-FFF2-40B4-BE49-F238E27FC236}">
                <a16:creationId xmlns:a16="http://schemas.microsoft.com/office/drawing/2014/main" id="{3AFE7046-EED6-CFD3-8B84-CD313D0E7868}"/>
              </a:ext>
            </a:extLst>
          </p:cNvPr>
          <p:cNvSpPr>
            <a:spLocks/>
          </p:cNvSpPr>
          <p:nvPr/>
        </p:nvSpPr>
        <p:spPr>
          <a:xfrm>
            <a:off x="8153879" y="1372038"/>
            <a:ext cx="3608583" cy="4405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1" name="Shape0_20210621_180936">
            <a:extLst>
              <a:ext uri="{FF2B5EF4-FFF2-40B4-BE49-F238E27FC236}">
                <a16:creationId xmlns:a16="http://schemas.microsoft.com/office/drawing/2014/main" id="{8FE9CE1B-23F3-9D38-1181-ECCE36ACDFA3}"/>
              </a:ext>
            </a:extLst>
          </p:cNvPr>
          <p:cNvSpPr txBox="1">
            <a:spLocks/>
          </p:cNvSpPr>
          <p:nvPr/>
        </p:nvSpPr>
        <p:spPr>
          <a:xfrm>
            <a:off x="8340539" y="1935362"/>
            <a:ext cx="3235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+mn-lt"/>
              </a:rPr>
              <a:t>Insert Text Here</a:t>
            </a:r>
            <a:endParaRPr lang="en-IN" dirty="0">
              <a:latin typeface="+mn-lt"/>
            </a:endParaRPr>
          </a:p>
        </p:txBody>
      </p:sp>
      <p:sp>
        <p:nvSpPr>
          <p:cNvPr id="32" name="Shape2_20210621_180903">
            <a:extLst>
              <a:ext uri="{FF2B5EF4-FFF2-40B4-BE49-F238E27FC236}">
                <a16:creationId xmlns:a16="http://schemas.microsoft.com/office/drawing/2014/main" id="{C2DAC14B-861B-5E2D-0872-3D331A9A393E}"/>
              </a:ext>
            </a:extLst>
          </p:cNvPr>
          <p:cNvSpPr/>
          <p:nvPr/>
        </p:nvSpPr>
        <p:spPr>
          <a:xfrm>
            <a:off x="447728" y="1372038"/>
            <a:ext cx="3608583" cy="440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Shape2_20210621_180936">
            <a:extLst>
              <a:ext uri="{FF2B5EF4-FFF2-40B4-BE49-F238E27FC236}">
                <a16:creationId xmlns:a16="http://schemas.microsoft.com/office/drawing/2014/main" id="{74A60087-067D-E2C3-8320-D467C0810E70}"/>
              </a:ext>
            </a:extLst>
          </p:cNvPr>
          <p:cNvSpPr txBox="1"/>
          <p:nvPr/>
        </p:nvSpPr>
        <p:spPr>
          <a:xfrm>
            <a:off x="1226278" y="2143127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5" name="Shape0_20220518_131534">
            <a:extLst>
              <a:ext uri="{FF2B5EF4-FFF2-40B4-BE49-F238E27FC236}">
                <a16:creationId xmlns:a16="http://schemas.microsoft.com/office/drawing/2014/main" id="{8F3BB3F0-91FB-7B32-F4D5-1EF42F32B93E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1947018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DF39E3B-FD53-673E-28A0-125B27006313}"/>
              </a:ext>
            </a:extLst>
          </p:cNvPr>
          <p:cNvGrpSpPr/>
          <p:nvPr/>
        </p:nvGrpSpPr>
        <p:grpSpPr>
          <a:xfrm>
            <a:off x="624173" y="2094750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37" name="Freeform 1532">
              <a:extLst>
                <a:ext uri="{FF2B5EF4-FFF2-40B4-BE49-F238E27FC236}">
                  <a16:creationId xmlns:a16="http://schemas.microsoft.com/office/drawing/2014/main" id="{4C283051-14FC-A535-EE15-D45EA7109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8" name="Freeform 1533">
              <a:extLst>
                <a:ext uri="{FF2B5EF4-FFF2-40B4-BE49-F238E27FC236}">
                  <a16:creationId xmlns:a16="http://schemas.microsoft.com/office/drawing/2014/main" id="{E4DEBCDD-EF57-A57E-0F30-B2C0E90B4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39" name="Freeform 1534">
              <a:extLst>
                <a:ext uri="{FF2B5EF4-FFF2-40B4-BE49-F238E27FC236}">
                  <a16:creationId xmlns:a16="http://schemas.microsoft.com/office/drawing/2014/main" id="{7F62F088-615F-81BA-AD65-BFB2EAE02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0" name="Freeform 1535">
              <a:extLst>
                <a:ext uri="{FF2B5EF4-FFF2-40B4-BE49-F238E27FC236}">
                  <a16:creationId xmlns:a16="http://schemas.microsoft.com/office/drawing/2014/main" id="{C829F525-14C1-BC7B-9240-735ED0D96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1" name="Freeform 1536">
              <a:extLst>
                <a:ext uri="{FF2B5EF4-FFF2-40B4-BE49-F238E27FC236}">
                  <a16:creationId xmlns:a16="http://schemas.microsoft.com/office/drawing/2014/main" id="{25831EE0-549A-181F-79D8-F11EA67B3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2" name="Freeform 1537">
              <a:extLst>
                <a:ext uri="{FF2B5EF4-FFF2-40B4-BE49-F238E27FC236}">
                  <a16:creationId xmlns:a16="http://schemas.microsoft.com/office/drawing/2014/main" id="{5862D877-C5E4-D1A3-3781-37C454632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3" name="Freeform 1538">
              <a:extLst>
                <a:ext uri="{FF2B5EF4-FFF2-40B4-BE49-F238E27FC236}">
                  <a16:creationId xmlns:a16="http://schemas.microsoft.com/office/drawing/2014/main" id="{B472B2C7-2D53-4D89-4C37-5953CF348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4" name="Freeform 1539">
              <a:extLst>
                <a:ext uri="{FF2B5EF4-FFF2-40B4-BE49-F238E27FC236}">
                  <a16:creationId xmlns:a16="http://schemas.microsoft.com/office/drawing/2014/main" id="{7F062247-F782-2FA6-387B-E11F1E5B9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5" name="Freeform 1540">
              <a:extLst>
                <a:ext uri="{FF2B5EF4-FFF2-40B4-BE49-F238E27FC236}">
                  <a16:creationId xmlns:a16="http://schemas.microsoft.com/office/drawing/2014/main" id="{DFC480F9-24FA-7437-1BDB-2E941D9FB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6" name="Freeform 1541">
              <a:extLst>
                <a:ext uri="{FF2B5EF4-FFF2-40B4-BE49-F238E27FC236}">
                  <a16:creationId xmlns:a16="http://schemas.microsoft.com/office/drawing/2014/main" id="{89EBCCD3-2317-DF3F-B1ED-06B293A55D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7" name="Freeform 1542">
              <a:extLst>
                <a:ext uri="{FF2B5EF4-FFF2-40B4-BE49-F238E27FC236}">
                  <a16:creationId xmlns:a16="http://schemas.microsoft.com/office/drawing/2014/main" id="{8E0E55E7-E0F0-650D-90C6-9D77AAD45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48" name="Freeform 1543">
              <a:extLst>
                <a:ext uri="{FF2B5EF4-FFF2-40B4-BE49-F238E27FC236}">
                  <a16:creationId xmlns:a16="http://schemas.microsoft.com/office/drawing/2014/main" id="{49B11B3A-A382-142A-BF92-433AF6B1C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EAF0014-8590-D28B-02A3-4AF0DFEA4D33}"/>
              </a:ext>
            </a:extLst>
          </p:cNvPr>
          <p:cNvGraphicFramePr/>
          <p:nvPr/>
        </p:nvGraphicFramePr>
        <p:xfrm>
          <a:off x="4304473" y="1961080"/>
          <a:ext cx="3608583" cy="3939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Shape2_20210621_180936">
            <a:extLst>
              <a:ext uri="{FF2B5EF4-FFF2-40B4-BE49-F238E27FC236}">
                <a16:creationId xmlns:a16="http://schemas.microsoft.com/office/drawing/2014/main" id="{89D61B12-EE9F-014B-2128-9102C4A89472}"/>
              </a:ext>
            </a:extLst>
          </p:cNvPr>
          <p:cNvSpPr txBox="1"/>
          <p:nvPr/>
        </p:nvSpPr>
        <p:spPr>
          <a:xfrm>
            <a:off x="1226278" y="3112062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59" name="Shape0_20220518_131534">
            <a:extLst>
              <a:ext uri="{FF2B5EF4-FFF2-40B4-BE49-F238E27FC236}">
                <a16:creationId xmlns:a16="http://schemas.microsoft.com/office/drawing/2014/main" id="{F0CFC672-137E-C60B-EEB7-8BC979F9CA4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2915953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A21DB0A-3364-18D0-D367-1A5E35FEB304}"/>
              </a:ext>
            </a:extLst>
          </p:cNvPr>
          <p:cNvGrpSpPr/>
          <p:nvPr/>
        </p:nvGrpSpPr>
        <p:grpSpPr>
          <a:xfrm>
            <a:off x="624173" y="3063685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61" name="Freeform 1532">
              <a:extLst>
                <a:ext uri="{FF2B5EF4-FFF2-40B4-BE49-F238E27FC236}">
                  <a16:creationId xmlns:a16="http://schemas.microsoft.com/office/drawing/2014/main" id="{5904F3C8-FC69-F225-27EC-44D62F6EF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2" name="Freeform 1533">
              <a:extLst>
                <a:ext uri="{FF2B5EF4-FFF2-40B4-BE49-F238E27FC236}">
                  <a16:creationId xmlns:a16="http://schemas.microsoft.com/office/drawing/2014/main" id="{C713F7F9-8FFA-60E0-6C77-AEFE60A19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3" name="Freeform 1534">
              <a:extLst>
                <a:ext uri="{FF2B5EF4-FFF2-40B4-BE49-F238E27FC236}">
                  <a16:creationId xmlns:a16="http://schemas.microsoft.com/office/drawing/2014/main" id="{2A5ABC46-8731-1B7C-D1D8-01CFC3B61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4" name="Freeform 1535">
              <a:extLst>
                <a:ext uri="{FF2B5EF4-FFF2-40B4-BE49-F238E27FC236}">
                  <a16:creationId xmlns:a16="http://schemas.microsoft.com/office/drawing/2014/main" id="{39871790-472B-8932-F54F-1F3F96269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5" name="Freeform 1536">
              <a:extLst>
                <a:ext uri="{FF2B5EF4-FFF2-40B4-BE49-F238E27FC236}">
                  <a16:creationId xmlns:a16="http://schemas.microsoft.com/office/drawing/2014/main" id="{93A7B536-2982-8A7D-F4E7-7D0557BC6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6" name="Freeform 1537">
              <a:extLst>
                <a:ext uri="{FF2B5EF4-FFF2-40B4-BE49-F238E27FC236}">
                  <a16:creationId xmlns:a16="http://schemas.microsoft.com/office/drawing/2014/main" id="{841B7E8C-0339-EE79-6F4B-61477FDF5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7" name="Freeform 1538">
              <a:extLst>
                <a:ext uri="{FF2B5EF4-FFF2-40B4-BE49-F238E27FC236}">
                  <a16:creationId xmlns:a16="http://schemas.microsoft.com/office/drawing/2014/main" id="{3B92BA89-7D0E-452B-C398-CC8E5E183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8" name="Freeform 1539">
              <a:extLst>
                <a:ext uri="{FF2B5EF4-FFF2-40B4-BE49-F238E27FC236}">
                  <a16:creationId xmlns:a16="http://schemas.microsoft.com/office/drawing/2014/main" id="{B029E7CD-B935-55E3-E0A4-B94B42B74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69" name="Freeform 1540">
              <a:extLst>
                <a:ext uri="{FF2B5EF4-FFF2-40B4-BE49-F238E27FC236}">
                  <a16:creationId xmlns:a16="http://schemas.microsoft.com/office/drawing/2014/main" id="{C73B19C6-B3CE-4D02-1F67-9047B05C4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70" name="Freeform 1541">
              <a:extLst>
                <a:ext uri="{FF2B5EF4-FFF2-40B4-BE49-F238E27FC236}">
                  <a16:creationId xmlns:a16="http://schemas.microsoft.com/office/drawing/2014/main" id="{C6CA9A81-A6BB-8A10-BA5E-C6CFD21F6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3" name="Freeform 1542">
              <a:extLst>
                <a:ext uri="{FF2B5EF4-FFF2-40B4-BE49-F238E27FC236}">
                  <a16:creationId xmlns:a16="http://schemas.microsoft.com/office/drawing/2014/main" id="{B02AC213-AE12-DA71-A141-AC6248F2D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4" name="Freeform 1543">
              <a:extLst>
                <a:ext uri="{FF2B5EF4-FFF2-40B4-BE49-F238E27FC236}">
                  <a16:creationId xmlns:a16="http://schemas.microsoft.com/office/drawing/2014/main" id="{B03DAD6F-2341-AFAE-535F-96FDBA420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15" name="Shape2_20210621_180936">
            <a:extLst>
              <a:ext uri="{FF2B5EF4-FFF2-40B4-BE49-F238E27FC236}">
                <a16:creationId xmlns:a16="http://schemas.microsoft.com/office/drawing/2014/main" id="{69E838B2-8B2D-3E4E-3C45-241286220774}"/>
              </a:ext>
            </a:extLst>
          </p:cNvPr>
          <p:cNvSpPr txBox="1"/>
          <p:nvPr/>
        </p:nvSpPr>
        <p:spPr>
          <a:xfrm>
            <a:off x="1226278" y="4149439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6" name="Shape0_20220518_131534">
            <a:extLst>
              <a:ext uri="{FF2B5EF4-FFF2-40B4-BE49-F238E27FC236}">
                <a16:creationId xmlns:a16="http://schemas.microsoft.com/office/drawing/2014/main" id="{6A97969C-75AF-808C-6A1F-CCEA4E622B33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3953330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AB30950-8B08-F120-A13B-73E27EFD14D5}"/>
              </a:ext>
            </a:extLst>
          </p:cNvPr>
          <p:cNvGrpSpPr/>
          <p:nvPr/>
        </p:nvGrpSpPr>
        <p:grpSpPr>
          <a:xfrm>
            <a:off x="624173" y="4101062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18" name="Freeform 1532">
              <a:extLst>
                <a:ext uri="{FF2B5EF4-FFF2-40B4-BE49-F238E27FC236}">
                  <a16:creationId xmlns:a16="http://schemas.microsoft.com/office/drawing/2014/main" id="{E3974263-F81B-38B2-219E-5550C9E5B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19" name="Freeform 1533">
              <a:extLst>
                <a:ext uri="{FF2B5EF4-FFF2-40B4-BE49-F238E27FC236}">
                  <a16:creationId xmlns:a16="http://schemas.microsoft.com/office/drawing/2014/main" id="{E7FA6557-AB72-AE14-7898-F62607A5A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0" name="Freeform 1534">
              <a:extLst>
                <a:ext uri="{FF2B5EF4-FFF2-40B4-BE49-F238E27FC236}">
                  <a16:creationId xmlns:a16="http://schemas.microsoft.com/office/drawing/2014/main" id="{707708DC-24C9-D218-8E9A-8C8C2359F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1" name="Freeform 1535">
              <a:extLst>
                <a:ext uri="{FF2B5EF4-FFF2-40B4-BE49-F238E27FC236}">
                  <a16:creationId xmlns:a16="http://schemas.microsoft.com/office/drawing/2014/main" id="{C52FF00E-097F-49EB-AE25-60C04015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2" name="Freeform 1536">
              <a:extLst>
                <a:ext uri="{FF2B5EF4-FFF2-40B4-BE49-F238E27FC236}">
                  <a16:creationId xmlns:a16="http://schemas.microsoft.com/office/drawing/2014/main" id="{F2539037-186C-0D64-56CA-0D11DE898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3" name="Freeform 1537">
              <a:extLst>
                <a:ext uri="{FF2B5EF4-FFF2-40B4-BE49-F238E27FC236}">
                  <a16:creationId xmlns:a16="http://schemas.microsoft.com/office/drawing/2014/main" id="{5728A4B7-25DC-504B-844F-81415E76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4" name="Freeform 1538">
              <a:extLst>
                <a:ext uri="{FF2B5EF4-FFF2-40B4-BE49-F238E27FC236}">
                  <a16:creationId xmlns:a16="http://schemas.microsoft.com/office/drawing/2014/main" id="{16F4CF3C-8059-42C3-12D5-0F236AC76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5" name="Freeform 1539">
              <a:extLst>
                <a:ext uri="{FF2B5EF4-FFF2-40B4-BE49-F238E27FC236}">
                  <a16:creationId xmlns:a16="http://schemas.microsoft.com/office/drawing/2014/main" id="{E8FEEB65-D442-0361-6179-70FCBE59C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6" name="Freeform 1540">
              <a:extLst>
                <a:ext uri="{FF2B5EF4-FFF2-40B4-BE49-F238E27FC236}">
                  <a16:creationId xmlns:a16="http://schemas.microsoft.com/office/drawing/2014/main" id="{C5C7022E-DF2F-3F87-4F04-262FF2C80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7" name="Freeform 1541">
              <a:extLst>
                <a:ext uri="{FF2B5EF4-FFF2-40B4-BE49-F238E27FC236}">
                  <a16:creationId xmlns:a16="http://schemas.microsoft.com/office/drawing/2014/main" id="{FBECC6AF-A0F4-019E-0B51-8059D0350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8" name="Freeform 1542">
              <a:extLst>
                <a:ext uri="{FF2B5EF4-FFF2-40B4-BE49-F238E27FC236}">
                  <a16:creationId xmlns:a16="http://schemas.microsoft.com/office/drawing/2014/main" id="{0DE1DDF7-0637-163D-E2E0-04DE1A933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29" name="Freeform 1543">
              <a:extLst>
                <a:ext uri="{FF2B5EF4-FFF2-40B4-BE49-F238E27FC236}">
                  <a16:creationId xmlns:a16="http://schemas.microsoft.com/office/drawing/2014/main" id="{6F48E846-986C-91A2-912C-59541733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  <p:sp>
        <p:nvSpPr>
          <p:cNvPr id="130" name="Shape2_20210621_180936">
            <a:extLst>
              <a:ext uri="{FF2B5EF4-FFF2-40B4-BE49-F238E27FC236}">
                <a16:creationId xmlns:a16="http://schemas.microsoft.com/office/drawing/2014/main" id="{823A163F-2D08-C4DF-F054-C94A24C5AE44}"/>
              </a:ext>
            </a:extLst>
          </p:cNvPr>
          <p:cNvSpPr txBox="1"/>
          <p:nvPr/>
        </p:nvSpPr>
        <p:spPr>
          <a:xfrm>
            <a:off x="1226278" y="5136698"/>
            <a:ext cx="28300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1" name="Shape0_20220518_131534">
            <a:extLst>
              <a:ext uri="{FF2B5EF4-FFF2-40B4-BE49-F238E27FC236}">
                <a16:creationId xmlns:a16="http://schemas.microsoft.com/office/drawing/2014/main" id="{9119A953-E59A-037D-DC17-A7FA1AA0C839}"/>
              </a:ext>
            </a:extLst>
          </p:cNvPr>
          <p:cNvSpPr>
            <a:spLocks noEditPoints="1"/>
          </p:cNvSpPr>
          <p:nvPr/>
        </p:nvSpPr>
        <p:spPr bwMode="auto">
          <a:xfrm>
            <a:off x="475561" y="4940589"/>
            <a:ext cx="643073" cy="638433"/>
          </a:xfrm>
          <a:custGeom>
            <a:avLst/>
            <a:gdLst>
              <a:gd name="T0" fmla="*/ 1532 w 3740"/>
              <a:gd name="T1" fmla="*/ 158 h 3713"/>
              <a:gd name="T2" fmla="*/ 1117 w 3740"/>
              <a:gd name="T3" fmla="*/ 296 h 3713"/>
              <a:gd name="T4" fmla="*/ 756 w 3740"/>
              <a:gd name="T5" fmla="*/ 525 h 3713"/>
              <a:gd name="T6" fmla="*/ 463 w 3740"/>
              <a:gd name="T7" fmla="*/ 835 h 3713"/>
              <a:gd name="T8" fmla="*/ 254 w 3740"/>
              <a:gd name="T9" fmla="*/ 1209 h 3713"/>
              <a:gd name="T10" fmla="*/ 141 w 3740"/>
              <a:gd name="T11" fmla="*/ 1631 h 3713"/>
              <a:gd name="T12" fmla="*/ 141 w 3740"/>
              <a:gd name="T13" fmla="*/ 2082 h 3713"/>
              <a:gd name="T14" fmla="*/ 254 w 3740"/>
              <a:gd name="T15" fmla="*/ 2505 h 3713"/>
              <a:gd name="T16" fmla="*/ 463 w 3740"/>
              <a:gd name="T17" fmla="*/ 2878 h 3713"/>
              <a:gd name="T18" fmla="*/ 756 w 3740"/>
              <a:gd name="T19" fmla="*/ 3187 h 3713"/>
              <a:gd name="T20" fmla="*/ 1117 w 3740"/>
              <a:gd name="T21" fmla="*/ 3418 h 3713"/>
              <a:gd name="T22" fmla="*/ 1532 w 3740"/>
              <a:gd name="T23" fmla="*/ 3554 h 3713"/>
              <a:gd name="T24" fmla="*/ 1984 w 3740"/>
              <a:gd name="T25" fmla="*/ 3584 h 3713"/>
              <a:gd name="T26" fmla="*/ 2420 w 3740"/>
              <a:gd name="T27" fmla="*/ 3499 h 3713"/>
              <a:gd name="T28" fmla="*/ 2810 w 3740"/>
              <a:gd name="T29" fmla="*/ 3313 h 3713"/>
              <a:gd name="T30" fmla="*/ 3139 w 3740"/>
              <a:gd name="T31" fmla="*/ 3042 h 3713"/>
              <a:gd name="T32" fmla="*/ 3393 w 3740"/>
              <a:gd name="T33" fmla="*/ 2698 h 3713"/>
              <a:gd name="T34" fmla="*/ 3555 w 3740"/>
              <a:gd name="T35" fmla="*/ 2298 h 3713"/>
              <a:gd name="T36" fmla="*/ 3613 w 3740"/>
              <a:gd name="T37" fmla="*/ 1857 h 3713"/>
              <a:gd name="T38" fmla="*/ 3555 w 3740"/>
              <a:gd name="T39" fmla="*/ 1415 h 3713"/>
              <a:gd name="T40" fmla="*/ 3393 w 3740"/>
              <a:gd name="T41" fmla="*/ 1015 h 3713"/>
              <a:gd name="T42" fmla="*/ 3139 w 3740"/>
              <a:gd name="T43" fmla="*/ 671 h 3713"/>
              <a:gd name="T44" fmla="*/ 2810 w 3740"/>
              <a:gd name="T45" fmla="*/ 399 h 3713"/>
              <a:gd name="T46" fmla="*/ 2420 w 3740"/>
              <a:gd name="T47" fmla="*/ 215 h 3713"/>
              <a:gd name="T48" fmla="*/ 1984 w 3740"/>
              <a:gd name="T49" fmla="*/ 130 h 3713"/>
              <a:gd name="T50" fmla="*/ 1987 w 3740"/>
              <a:gd name="T51" fmla="*/ 4 h 3713"/>
              <a:gd name="T52" fmla="*/ 2439 w 3740"/>
              <a:gd name="T53" fmla="*/ 88 h 3713"/>
              <a:gd name="T54" fmla="*/ 2845 w 3740"/>
              <a:gd name="T55" fmla="*/ 272 h 3713"/>
              <a:gd name="T56" fmla="*/ 3191 w 3740"/>
              <a:gd name="T57" fmla="*/ 544 h 3713"/>
              <a:gd name="T58" fmla="*/ 3465 w 3740"/>
              <a:gd name="T59" fmla="*/ 889 h 3713"/>
              <a:gd name="T60" fmla="*/ 3651 w 3740"/>
              <a:gd name="T61" fmla="*/ 1291 h 3713"/>
              <a:gd name="T62" fmla="*/ 3736 w 3740"/>
              <a:gd name="T63" fmla="*/ 1739 h 3713"/>
              <a:gd name="T64" fmla="*/ 3708 w 3740"/>
              <a:gd name="T65" fmla="*/ 2203 h 3713"/>
              <a:gd name="T66" fmla="*/ 3571 w 3740"/>
              <a:gd name="T67" fmla="*/ 2630 h 3713"/>
              <a:gd name="T68" fmla="*/ 3338 w 3740"/>
              <a:gd name="T69" fmla="*/ 3005 h 3713"/>
              <a:gd name="T70" fmla="*/ 3027 w 3740"/>
              <a:gd name="T71" fmla="*/ 3315 h 3713"/>
              <a:gd name="T72" fmla="*/ 2649 w 3740"/>
              <a:gd name="T73" fmla="*/ 3545 h 3713"/>
              <a:gd name="T74" fmla="*/ 2218 w 3740"/>
              <a:gd name="T75" fmla="*/ 3680 h 3713"/>
              <a:gd name="T76" fmla="*/ 1751 w 3740"/>
              <a:gd name="T77" fmla="*/ 3710 h 3713"/>
              <a:gd name="T78" fmla="*/ 1301 w 3740"/>
              <a:gd name="T79" fmla="*/ 3625 h 3713"/>
              <a:gd name="T80" fmla="*/ 895 w 3740"/>
              <a:gd name="T81" fmla="*/ 3440 h 3713"/>
              <a:gd name="T82" fmla="*/ 547 w 3740"/>
              <a:gd name="T83" fmla="*/ 3169 h 3713"/>
              <a:gd name="T84" fmla="*/ 274 w 3740"/>
              <a:gd name="T85" fmla="*/ 2824 h 3713"/>
              <a:gd name="T86" fmla="*/ 88 w 3740"/>
              <a:gd name="T87" fmla="*/ 2422 h 3713"/>
              <a:gd name="T88" fmla="*/ 4 w 3740"/>
              <a:gd name="T89" fmla="*/ 1973 h 3713"/>
              <a:gd name="T90" fmla="*/ 32 w 3740"/>
              <a:gd name="T91" fmla="*/ 1511 h 3713"/>
              <a:gd name="T92" fmla="*/ 169 w 3740"/>
              <a:gd name="T93" fmla="*/ 1084 h 3713"/>
              <a:gd name="T94" fmla="*/ 401 w 3740"/>
              <a:gd name="T95" fmla="*/ 709 h 3713"/>
              <a:gd name="T96" fmla="*/ 713 w 3740"/>
              <a:gd name="T97" fmla="*/ 398 h 3713"/>
              <a:gd name="T98" fmla="*/ 1091 w 3740"/>
              <a:gd name="T99" fmla="*/ 169 h 3713"/>
              <a:gd name="T100" fmla="*/ 1522 w 3740"/>
              <a:gd name="T101" fmla="*/ 32 h 3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40" h="3713">
                <a:moveTo>
                  <a:pt x="1870" y="125"/>
                </a:moveTo>
                <a:lnTo>
                  <a:pt x="1755" y="130"/>
                </a:lnTo>
                <a:lnTo>
                  <a:pt x="1642" y="141"/>
                </a:lnTo>
                <a:lnTo>
                  <a:pt x="1532" y="158"/>
                </a:lnTo>
                <a:lnTo>
                  <a:pt x="1424" y="183"/>
                </a:lnTo>
                <a:lnTo>
                  <a:pt x="1319" y="215"/>
                </a:lnTo>
                <a:lnTo>
                  <a:pt x="1217" y="251"/>
                </a:lnTo>
                <a:lnTo>
                  <a:pt x="1117" y="296"/>
                </a:lnTo>
                <a:lnTo>
                  <a:pt x="1022" y="345"/>
                </a:lnTo>
                <a:lnTo>
                  <a:pt x="929" y="399"/>
                </a:lnTo>
                <a:lnTo>
                  <a:pt x="840" y="461"/>
                </a:lnTo>
                <a:lnTo>
                  <a:pt x="756" y="525"/>
                </a:lnTo>
                <a:lnTo>
                  <a:pt x="675" y="596"/>
                </a:lnTo>
                <a:lnTo>
                  <a:pt x="600" y="671"/>
                </a:lnTo>
                <a:lnTo>
                  <a:pt x="529" y="751"/>
                </a:lnTo>
                <a:lnTo>
                  <a:pt x="463" y="835"/>
                </a:lnTo>
                <a:lnTo>
                  <a:pt x="402" y="923"/>
                </a:lnTo>
                <a:lnTo>
                  <a:pt x="347" y="1015"/>
                </a:lnTo>
                <a:lnTo>
                  <a:pt x="297" y="1110"/>
                </a:lnTo>
                <a:lnTo>
                  <a:pt x="254" y="1209"/>
                </a:lnTo>
                <a:lnTo>
                  <a:pt x="216" y="1310"/>
                </a:lnTo>
                <a:lnTo>
                  <a:pt x="184" y="1415"/>
                </a:lnTo>
                <a:lnTo>
                  <a:pt x="159" y="1522"/>
                </a:lnTo>
                <a:lnTo>
                  <a:pt x="141" y="1631"/>
                </a:lnTo>
                <a:lnTo>
                  <a:pt x="130" y="1743"/>
                </a:lnTo>
                <a:lnTo>
                  <a:pt x="127" y="1857"/>
                </a:lnTo>
                <a:lnTo>
                  <a:pt x="130" y="1970"/>
                </a:lnTo>
                <a:lnTo>
                  <a:pt x="141" y="2082"/>
                </a:lnTo>
                <a:lnTo>
                  <a:pt x="159" y="2191"/>
                </a:lnTo>
                <a:lnTo>
                  <a:pt x="184" y="2298"/>
                </a:lnTo>
                <a:lnTo>
                  <a:pt x="216" y="2403"/>
                </a:lnTo>
                <a:lnTo>
                  <a:pt x="254" y="2505"/>
                </a:lnTo>
                <a:lnTo>
                  <a:pt x="297" y="2603"/>
                </a:lnTo>
                <a:lnTo>
                  <a:pt x="347" y="2698"/>
                </a:lnTo>
                <a:lnTo>
                  <a:pt x="402" y="2790"/>
                </a:lnTo>
                <a:lnTo>
                  <a:pt x="463" y="2878"/>
                </a:lnTo>
                <a:lnTo>
                  <a:pt x="529" y="2962"/>
                </a:lnTo>
                <a:lnTo>
                  <a:pt x="600" y="3042"/>
                </a:lnTo>
                <a:lnTo>
                  <a:pt x="675" y="3117"/>
                </a:lnTo>
                <a:lnTo>
                  <a:pt x="756" y="3187"/>
                </a:lnTo>
                <a:lnTo>
                  <a:pt x="840" y="3253"/>
                </a:lnTo>
                <a:lnTo>
                  <a:pt x="929" y="3313"/>
                </a:lnTo>
                <a:lnTo>
                  <a:pt x="1022" y="3369"/>
                </a:lnTo>
                <a:lnTo>
                  <a:pt x="1117" y="3418"/>
                </a:lnTo>
                <a:lnTo>
                  <a:pt x="1217" y="3462"/>
                </a:lnTo>
                <a:lnTo>
                  <a:pt x="1319" y="3499"/>
                </a:lnTo>
                <a:lnTo>
                  <a:pt x="1424" y="3530"/>
                </a:lnTo>
                <a:lnTo>
                  <a:pt x="1532" y="3554"/>
                </a:lnTo>
                <a:lnTo>
                  <a:pt x="1642" y="3573"/>
                </a:lnTo>
                <a:lnTo>
                  <a:pt x="1755" y="3584"/>
                </a:lnTo>
                <a:lnTo>
                  <a:pt x="1870" y="3587"/>
                </a:lnTo>
                <a:lnTo>
                  <a:pt x="1984" y="3584"/>
                </a:lnTo>
                <a:lnTo>
                  <a:pt x="2096" y="3573"/>
                </a:lnTo>
                <a:lnTo>
                  <a:pt x="2207" y="3554"/>
                </a:lnTo>
                <a:lnTo>
                  <a:pt x="2314" y="3530"/>
                </a:lnTo>
                <a:lnTo>
                  <a:pt x="2420" y="3499"/>
                </a:lnTo>
                <a:lnTo>
                  <a:pt x="2523" y="3462"/>
                </a:lnTo>
                <a:lnTo>
                  <a:pt x="2621" y="3418"/>
                </a:lnTo>
                <a:lnTo>
                  <a:pt x="2717" y="3369"/>
                </a:lnTo>
                <a:lnTo>
                  <a:pt x="2810" y="3313"/>
                </a:lnTo>
                <a:lnTo>
                  <a:pt x="2899" y="3253"/>
                </a:lnTo>
                <a:lnTo>
                  <a:pt x="2983" y="3187"/>
                </a:lnTo>
                <a:lnTo>
                  <a:pt x="3063" y="3117"/>
                </a:lnTo>
                <a:lnTo>
                  <a:pt x="3139" y="3042"/>
                </a:lnTo>
                <a:lnTo>
                  <a:pt x="3210" y="2962"/>
                </a:lnTo>
                <a:lnTo>
                  <a:pt x="3277" y="2878"/>
                </a:lnTo>
                <a:lnTo>
                  <a:pt x="3337" y="2790"/>
                </a:lnTo>
                <a:lnTo>
                  <a:pt x="3393" y="2698"/>
                </a:lnTo>
                <a:lnTo>
                  <a:pt x="3443" y="2603"/>
                </a:lnTo>
                <a:lnTo>
                  <a:pt x="3486" y="2505"/>
                </a:lnTo>
                <a:lnTo>
                  <a:pt x="3524" y="2403"/>
                </a:lnTo>
                <a:lnTo>
                  <a:pt x="3555" y="2298"/>
                </a:lnTo>
                <a:lnTo>
                  <a:pt x="3580" y="2191"/>
                </a:lnTo>
                <a:lnTo>
                  <a:pt x="3598" y="2082"/>
                </a:lnTo>
                <a:lnTo>
                  <a:pt x="3610" y="1970"/>
                </a:lnTo>
                <a:lnTo>
                  <a:pt x="3613" y="1857"/>
                </a:lnTo>
                <a:lnTo>
                  <a:pt x="3610" y="1743"/>
                </a:lnTo>
                <a:lnTo>
                  <a:pt x="3598" y="1631"/>
                </a:lnTo>
                <a:lnTo>
                  <a:pt x="3580" y="1522"/>
                </a:lnTo>
                <a:lnTo>
                  <a:pt x="3555" y="1415"/>
                </a:lnTo>
                <a:lnTo>
                  <a:pt x="3524" y="1310"/>
                </a:lnTo>
                <a:lnTo>
                  <a:pt x="3486" y="1209"/>
                </a:lnTo>
                <a:lnTo>
                  <a:pt x="3443" y="1110"/>
                </a:lnTo>
                <a:lnTo>
                  <a:pt x="3393" y="1015"/>
                </a:lnTo>
                <a:lnTo>
                  <a:pt x="3337" y="923"/>
                </a:lnTo>
                <a:lnTo>
                  <a:pt x="3277" y="835"/>
                </a:lnTo>
                <a:lnTo>
                  <a:pt x="3210" y="751"/>
                </a:lnTo>
                <a:lnTo>
                  <a:pt x="3139" y="671"/>
                </a:lnTo>
                <a:lnTo>
                  <a:pt x="3063" y="596"/>
                </a:lnTo>
                <a:lnTo>
                  <a:pt x="2983" y="525"/>
                </a:lnTo>
                <a:lnTo>
                  <a:pt x="2899" y="461"/>
                </a:lnTo>
                <a:lnTo>
                  <a:pt x="2810" y="399"/>
                </a:lnTo>
                <a:lnTo>
                  <a:pt x="2717" y="345"/>
                </a:lnTo>
                <a:lnTo>
                  <a:pt x="2621" y="296"/>
                </a:lnTo>
                <a:lnTo>
                  <a:pt x="2523" y="251"/>
                </a:lnTo>
                <a:lnTo>
                  <a:pt x="2420" y="215"/>
                </a:lnTo>
                <a:lnTo>
                  <a:pt x="2314" y="183"/>
                </a:lnTo>
                <a:lnTo>
                  <a:pt x="2207" y="158"/>
                </a:lnTo>
                <a:lnTo>
                  <a:pt x="2096" y="141"/>
                </a:lnTo>
                <a:lnTo>
                  <a:pt x="1984" y="130"/>
                </a:lnTo>
                <a:lnTo>
                  <a:pt x="1870" y="125"/>
                </a:lnTo>
                <a:close/>
                <a:moveTo>
                  <a:pt x="1870" y="0"/>
                </a:moveTo>
                <a:lnTo>
                  <a:pt x="1870" y="0"/>
                </a:lnTo>
                <a:lnTo>
                  <a:pt x="1987" y="4"/>
                </a:lnTo>
                <a:lnTo>
                  <a:pt x="2105" y="15"/>
                </a:lnTo>
                <a:lnTo>
                  <a:pt x="2218" y="32"/>
                </a:lnTo>
                <a:lnTo>
                  <a:pt x="2330" y="57"/>
                </a:lnTo>
                <a:lnTo>
                  <a:pt x="2439" y="88"/>
                </a:lnTo>
                <a:lnTo>
                  <a:pt x="2545" y="125"/>
                </a:lnTo>
                <a:lnTo>
                  <a:pt x="2649" y="169"/>
                </a:lnTo>
                <a:lnTo>
                  <a:pt x="2748" y="218"/>
                </a:lnTo>
                <a:lnTo>
                  <a:pt x="2845" y="272"/>
                </a:lnTo>
                <a:lnTo>
                  <a:pt x="2938" y="334"/>
                </a:lnTo>
                <a:lnTo>
                  <a:pt x="3027" y="398"/>
                </a:lnTo>
                <a:lnTo>
                  <a:pt x="3111" y="469"/>
                </a:lnTo>
                <a:lnTo>
                  <a:pt x="3191" y="544"/>
                </a:lnTo>
                <a:lnTo>
                  <a:pt x="3267" y="624"/>
                </a:lnTo>
                <a:lnTo>
                  <a:pt x="3338" y="709"/>
                </a:lnTo>
                <a:lnTo>
                  <a:pt x="3405" y="797"/>
                </a:lnTo>
                <a:lnTo>
                  <a:pt x="3465" y="889"/>
                </a:lnTo>
                <a:lnTo>
                  <a:pt x="3521" y="984"/>
                </a:lnTo>
                <a:lnTo>
                  <a:pt x="3571" y="1084"/>
                </a:lnTo>
                <a:lnTo>
                  <a:pt x="3614" y="1186"/>
                </a:lnTo>
                <a:lnTo>
                  <a:pt x="3651" y="1291"/>
                </a:lnTo>
                <a:lnTo>
                  <a:pt x="3683" y="1401"/>
                </a:lnTo>
                <a:lnTo>
                  <a:pt x="3708" y="1511"/>
                </a:lnTo>
                <a:lnTo>
                  <a:pt x="3726" y="1624"/>
                </a:lnTo>
                <a:lnTo>
                  <a:pt x="3736" y="1739"/>
                </a:lnTo>
                <a:lnTo>
                  <a:pt x="3740" y="1857"/>
                </a:lnTo>
                <a:lnTo>
                  <a:pt x="3736" y="1973"/>
                </a:lnTo>
                <a:lnTo>
                  <a:pt x="3726" y="2089"/>
                </a:lnTo>
                <a:lnTo>
                  <a:pt x="3708" y="2203"/>
                </a:lnTo>
                <a:lnTo>
                  <a:pt x="3683" y="2313"/>
                </a:lnTo>
                <a:lnTo>
                  <a:pt x="3651" y="2422"/>
                </a:lnTo>
                <a:lnTo>
                  <a:pt x="3614" y="2528"/>
                </a:lnTo>
                <a:lnTo>
                  <a:pt x="3571" y="2630"/>
                </a:lnTo>
                <a:lnTo>
                  <a:pt x="3521" y="2729"/>
                </a:lnTo>
                <a:lnTo>
                  <a:pt x="3465" y="2824"/>
                </a:lnTo>
                <a:lnTo>
                  <a:pt x="3405" y="2917"/>
                </a:lnTo>
                <a:lnTo>
                  <a:pt x="3338" y="3005"/>
                </a:lnTo>
                <a:lnTo>
                  <a:pt x="3267" y="3089"/>
                </a:lnTo>
                <a:lnTo>
                  <a:pt x="3191" y="3169"/>
                </a:lnTo>
                <a:lnTo>
                  <a:pt x="3111" y="3244"/>
                </a:lnTo>
                <a:lnTo>
                  <a:pt x="3027" y="3315"/>
                </a:lnTo>
                <a:lnTo>
                  <a:pt x="2938" y="3380"/>
                </a:lnTo>
                <a:lnTo>
                  <a:pt x="2845" y="3440"/>
                </a:lnTo>
                <a:lnTo>
                  <a:pt x="2748" y="3496"/>
                </a:lnTo>
                <a:lnTo>
                  <a:pt x="2649" y="3545"/>
                </a:lnTo>
                <a:lnTo>
                  <a:pt x="2545" y="3589"/>
                </a:lnTo>
                <a:lnTo>
                  <a:pt x="2439" y="3625"/>
                </a:lnTo>
                <a:lnTo>
                  <a:pt x="2330" y="3657"/>
                </a:lnTo>
                <a:lnTo>
                  <a:pt x="2218" y="3680"/>
                </a:lnTo>
                <a:lnTo>
                  <a:pt x="2105" y="3699"/>
                </a:lnTo>
                <a:lnTo>
                  <a:pt x="1987" y="3710"/>
                </a:lnTo>
                <a:lnTo>
                  <a:pt x="1870" y="3713"/>
                </a:lnTo>
                <a:lnTo>
                  <a:pt x="1751" y="3710"/>
                </a:lnTo>
                <a:lnTo>
                  <a:pt x="1635" y="3699"/>
                </a:lnTo>
                <a:lnTo>
                  <a:pt x="1522" y="3680"/>
                </a:lnTo>
                <a:lnTo>
                  <a:pt x="1410" y="3657"/>
                </a:lnTo>
                <a:lnTo>
                  <a:pt x="1301" y="3625"/>
                </a:lnTo>
                <a:lnTo>
                  <a:pt x="1195" y="3589"/>
                </a:lnTo>
                <a:lnTo>
                  <a:pt x="1091" y="3545"/>
                </a:lnTo>
                <a:lnTo>
                  <a:pt x="991" y="3496"/>
                </a:lnTo>
                <a:lnTo>
                  <a:pt x="895" y="3440"/>
                </a:lnTo>
                <a:lnTo>
                  <a:pt x="802" y="3380"/>
                </a:lnTo>
                <a:lnTo>
                  <a:pt x="713" y="3315"/>
                </a:lnTo>
                <a:lnTo>
                  <a:pt x="628" y="3244"/>
                </a:lnTo>
                <a:lnTo>
                  <a:pt x="547" y="3169"/>
                </a:lnTo>
                <a:lnTo>
                  <a:pt x="472" y="3089"/>
                </a:lnTo>
                <a:lnTo>
                  <a:pt x="401" y="3005"/>
                </a:lnTo>
                <a:lnTo>
                  <a:pt x="335" y="2917"/>
                </a:lnTo>
                <a:lnTo>
                  <a:pt x="274" y="2824"/>
                </a:lnTo>
                <a:lnTo>
                  <a:pt x="219" y="2729"/>
                </a:lnTo>
                <a:lnTo>
                  <a:pt x="169" y="2630"/>
                </a:lnTo>
                <a:lnTo>
                  <a:pt x="126" y="2528"/>
                </a:lnTo>
                <a:lnTo>
                  <a:pt x="88" y="2422"/>
                </a:lnTo>
                <a:lnTo>
                  <a:pt x="57" y="2313"/>
                </a:lnTo>
                <a:lnTo>
                  <a:pt x="32" y="2203"/>
                </a:lnTo>
                <a:lnTo>
                  <a:pt x="14" y="2089"/>
                </a:lnTo>
                <a:lnTo>
                  <a:pt x="4" y="1973"/>
                </a:lnTo>
                <a:lnTo>
                  <a:pt x="0" y="1857"/>
                </a:lnTo>
                <a:lnTo>
                  <a:pt x="4" y="1739"/>
                </a:lnTo>
                <a:lnTo>
                  <a:pt x="14" y="1624"/>
                </a:lnTo>
                <a:lnTo>
                  <a:pt x="32" y="1511"/>
                </a:lnTo>
                <a:lnTo>
                  <a:pt x="57" y="1401"/>
                </a:lnTo>
                <a:lnTo>
                  <a:pt x="88" y="1291"/>
                </a:lnTo>
                <a:lnTo>
                  <a:pt x="126" y="1186"/>
                </a:lnTo>
                <a:lnTo>
                  <a:pt x="169" y="1084"/>
                </a:lnTo>
                <a:lnTo>
                  <a:pt x="219" y="984"/>
                </a:lnTo>
                <a:lnTo>
                  <a:pt x="274" y="889"/>
                </a:lnTo>
                <a:lnTo>
                  <a:pt x="335" y="797"/>
                </a:lnTo>
                <a:lnTo>
                  <a:pt x="401" y="709"/>
                </a:lnTo>
                <a:lnTo>
                  <a:pt x="472" y="624"/>
                </a:lnTo>
                <a:lnTo>
                  <a:pt x="547" y="544"/>
                </a:lnTo>
                <a:lnTo>
                  <a:pt x="628" y="469"/>
                </a:lnTo>
                <a:lnTo>
                  <a:pt x="713" y="398"/>
                </a:lnTo>
                <a:lnTo>
                  <a:pt x="802" y="334"/>
                </a:lnTo>
                <a:lnTo>
                  <a:pt x="895" y="272"/>
                </a:lnTo>
                <a:lnTo>
                  <a:pt x="991" y="218"/>
                </a:lnTo>
                <a:lnTo>
                  <a:pt x="1091" y="169"/>
                </a:lnTo>
                <a:lnTo>
                  <a:pt x="1195" y="125"/>
                </a:lnTo>
                <a:lnTo>
                  <a:pt x="1301" y="88"/>
                </a:lnTo>
                <a:lnTo>
                  <a:pt x="1410" y="57"/>
                </a:lnTo>
                <a:lnTo>
                  <a:pt x="1522" y="32"/>
                </a:lnTo>
                <a:lnTo>
                  <a:pt x="1635" y="15"/>
                </a:lnTo>
                <a:lnTo>
                  <a:pt x="1751" y="4"/>
                </a:lnTo>
                <a:lnTo>
                  <a:pt x="1870" y="0"/>
                </a:ln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150148" tIns="75075" rIns="150148" bIns="7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2421CB1-2159-3CE4-5927-71C5BBD937B4}"/>
              </a:ext>
            </a:extLst>
          </p:cNvPr>
          <p:cNvGrpSpPr/>
          <p:nvPr/>
        </p:nvGrpSpPr>
        <p:grpSpPr>
          <a:xfrm>
            <a:off x="624173" y="5088321"/>
            <a:ext cx="345852" cy="342973"/>
            <a:chOff x="624173" y="2198922"/>
            <a:chExt cx="345852" cy="342973"/>
          </a:xfrm>
          <a:solidFill>
            <a:schemeClr val="accent1"/>
          </a:solidFill>
        </p:grpSpPr>
        <p:sp>
          <p:nvSpPr>
            <p:cNvPr id="133" name="Freeform 1532">
              <a:extLst>
                <a:ext uri="{FF2B5EF4-FFF2-40B4-BE49-F238E27FC236}">
                  <a16:creationId xmlns:a16="http://schemas.microsoft.com/office/drawing/2014/main" id="{C51B1D1E-1592-4A5B-7DB4-6ED186045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77" y="2433816"/>
              <a:ext cx="84998" cy="83582"/>
            </a:xfrm>
            <a:custGeom>
              <a:avLst/>
              <a:gdLst>
                <a:gd name="T0" fmla="*/ 16 w 41"/>
                <a:gd name="T1" fmla="*/ 41 h 41"/>
                <a:gd name="T2" fmla="*/ 13 w 41"/>
                <a:gd name="T3" fmla="*/ 40 h 41"/>
                <a:gd name="T4" fmla="*/ 1 w 41"/>
                <a:gd name="T5" fmla="*/ 28 h 41"/>
                <a:gd name="T6" fmla="*/ 0 w 41"/>
                <a:gd name="T7" fmla="*/ 24 h 41"/>
                <a:gd name="T8" fmla="*/ 5 w 41"/>
                <a:gd name="T9" fmla="*/ 7 h 41"/>
                <a:gd name="T10" fmla="*/ 7 w 41"/>
                <a:gd name="T11" fmla="*/ 5 h 41"/>
                <a:gd name="T12" fmla="*/ 24 w 41"/>
                <a:gd name="T13" fmla="*/ 0 h 41"/>
                <a:gd name="T14" fmla="*/ 28 w 41"/>
                <a:gd name="T15" fmla="*/ 1 h 41"/>
                <a:gd name="T16" fmla="*/ 40 w 41"/>
                <a:gd name="T17" fmla="*/ 14 h 41"/>
                <a:gd name="T18" fmla="*/ 40 w 41"/>
                <a:gd name="T19" fmla="*/ 14 h 41"/>
                <a:gd name="T20" fmla="*/ 41 w 41"/>
                <a:gd name="T21" fmla="*/ 17 h 41"/>
                <a:gd name="T22" fmla="*/ 36 w 41"/>
                <a:gd name="T23" fmla="*/ 34 h 41"/>
                <a:gd name="T24" fmla="*/ 34 w 41"/>
                <a:gd name="T25" fmla="*/ 37 h 41"/>
                <a:gd name="T26" fmla="*/ 17 w 41"/>
                <a:gd name="T27" fmla="*/ 41 h 41"/>
                <a:gd name="T28" fmla="*/ 16 w 41"/>
                <a:gd name="T29" fmla="*/ 41 h 41"/>
                <a:gd name="T30" fmla="*/ 5 w 41"/>
                <a:gd name="T31" fmla="*/ 25 h 41"/>
                <a:gd name="T32" fmla="*/ 16 w 41"/>
                <a:gd name="T33" fmla="*/ 36 h 41"/>
                <a:gd name="T34" fmla="*/ 32 w 41"/>
                <a:gd name="T35" fmla="*/ 32 h 41"/>
                <a:gd name="T36" fmla="*/ 36 w 41"/>
                <a:gd name="T37" fmla="*/ 17 h 41"/>
                <a:gd name="T38" fmla="*/ 25 w 41"/>
                <a:gd name="T39" fmla="*/ 5 h 41"/>
                <a:gd name="T40" fmla="*/ 9 w 41"/>
                <a:gd name="T41" fmla="*/ 9 h 41"/>
                <a:gd name="T42" fmla="*/ 5 w 41"/>
                <a:gd name="T43" fmla="*/ 25 h 41"/>
                <a:gd name="T44" fmla="*/ 32 w 41"/>
                <a:gd name="T45" fmla="*/ 33 h 41"/>
                <a:gd name="T46" fmla="*/ 32 w 41"/>
                <a:gd name="T47" fmla="*/ 33 h 41"/>
                <a:gd name="T48" fmla="*/ 5 w 41"/>
                <a:gd name="T49" fmla="*/ 26 h 41"/>
                <a:gd name="T50" fmla="*/ 5 w 41"/>
                <a:gd name="T51" fmla="*/ 26 h 41"/>
                <a:gd name="T52" fmla="*/ 5 w 41"/>
                <a:gd name="T53" fmla="*/ 26 h 41"/>
                <a:gd name="T54" fmla="*/ 36 w 41"/>
                <a:gd name="T55" fmla="*/ 16 h 41"/>
                <a:gd name="T56" fmla="*/ 36 w 41"/>
                <a:gd name="T57" fmla="*/ 16 h 41"/>
                <a:gd name="T58" fmla="*/ 9 w 41"/>
                <a:gd name="T59" fmla="*/ 9 h 41"/>
                <a:gd name="T60" fmla="*/ 9 w 41"/>
                <a:gd name="T61" fmla="*/ 9 h 41"/>
                <a:gd name="T62" fmla="*/ 9 w 41"/>
                <a:gd name="T63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41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4" name="Freeform 1533">
              <a:extLst>
                <a:ext uri="{FF2B5EF4-FFF2-40B4-BE49-F238E27FC236}">
                  <a16:creationId xmlns:a16="http://schemas.microsoft.com/office/drawing/2014/main" id="{9A0AB77A-085B-93A7-F78B-567D5FF7C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104" y="2201803"/>
              <a:ext cx="95258" cy="93669"/>
            </a:xfrm>
            <a:custGeom>
              <a:avLst/>
              <a:gdLst>
                <a:gd name="T0" fmla="*/ 18 w 46"/>
                <a:gd name="T1" fmla="*/ 46 h 46"/>
                <a:gd name="T2" fmla="*/ 16 w 46"/>
                <a:gd name="T3" fmla="*/ 45 h 46"/>
                <a:gd name="T4" fmla="*/ 1 w 46"/>
                <a:gd name="T5" fmla="*/ 30 h 46"/>
                <a:gd name="T6" fmla="*/ 1 w 46"/>
                <a:gd name="T7" fmla="*/ 26 h 46"/>
                <a:gd name="T8" fmla="*/ 5 w 46"/>
                <a:gd name="T9" fmla="*/ 26 h 46"/>
                <a:gd name="T10" fmla="*/ 19 w 46"/>
                <a:gd name="T11" fmla="*/ 41 h 46"/>
                <a:gd name="T12" fmla="*/ 36 w 46"/>
                <a:gd name="T13" fmla="*/ 36 h 46"/>
                <a:gd name="T14" fmla="*/ 40 w 46"/>
                <a:gd name="T15" fmla="*/ 19 h 46"/>
                <a:gd name="T16" fmla="*/ 26 w 46"/>
                <a:gd name="T17" fmla="*/ 5 h 46"/>
                <a:gd name="T18" fmla="*/ 26 w 46"/>
                <a:gd name="T19" fmla="*/ 1 h 46"/>
                <a:gd name="T20" fmla="*/ 30 w 46"/>
                <a:gd name="T21" fmla="*/ 1 h 46"/>
                <a:gd name="T22" fmla="*/ 45 w 46"/>
                <a:gd name="T23" fmla="*/ 17 h 46"/>
                <a:gd name="T24" fmla="*/ 45 w 46"/>
                <a:gd name="T25" fmla="*/ 19 h 46"/>
                <a:gd name="T26" fmla="*/ 40 w 46"/>
                <a:gd name="T27" fmla="*/ 39 h 46"/>
                <a:gd name="T28" fmla="*/ 38 w 46"/>
                <a:gd name="T29" fmla="*/ 40 h 46"/>
                <a:gd name="T30" fmla="*/ 19 w 46"/>
                <a:gd name="T31" fmla="*/ 46 h 46"/>
                <a:gd name="T32" fmla="*/ 18 w 46"/>
                <a:gd name="T3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46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5" name="Freeform 1534">
              <a:extLst>
                <a:ext uri="{FF2B5EF4-FFF2-40B4-BE49-F238E27FC236}">
                  <a16:creationId xmlns:a16="http://schemas.microsoft.com/office/drawing/2014/main" id="{1B50A7F2-4775-9001-C0EC-CADB4C7AE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73" y="2252239"/>
              <a:ext cx="106981" cy="82142"/>
            </a:xfrm>
            <a:custGeom>
              <a:avLst/>
              <a:gdLst>
                <a:gd name="T0" fmla="*/ 33 w 51"/>
                <a:gd name="T1" fmla="*/ 40 h 40"/>
                <a:gd name="T2" fmla="*/ 11 w 51"/>
                <a:gd name="T3" fmla="*/ 30 h 40"/>
                <a:gd name="T4" fmla="*/ 1 w 51"/>
                <a:gd name="T5" fmla="*/ 3 h 40"/>
                <a:gd name="T6" fmla="*/ 4 w 51"/>
                <a:gd name="T7" fmla="*/ 1 h 40"/>
                <a:gd name="T8" fmla="*/ 6 w 51"/>
                <a:gd name="T9" fmla="*/ 3 h 40"/>
                <a:gd name="T10" fmla="*/ 14 w 51"/>
                <a:gd name="T11" fmla="*/ 27 h 40"/>
                <a:gd name="T12" fmla="*/ 47 w 51"/>
                <a:gd name="T13" fmla="*/ 31 h 40"/>
                <a:gd name="T14" fmla="*/ 50 w 51"/>
                <a:gd name="T15" fmla="*/ 32 h 40"/>
                <a:gd name="T16" fmla="*/ 50 w 51"/>
                <a:gd name="T17" fmla="*/ 35 h 40"/>
                <a:gd name="T18" fmla="*/ 33 w 51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6" name="Freeform 1535">
              <a:extLst>
                <a:ext uri="{FF2B5EF4-FFF2-40B4-BE49-F238E27FC236}">
                  <a16:creationId xmlns:a16="http://schemas.microsoft.com/office/drawing/2014/main" id="{441D0072-CD5F-5075-1284-F9BDAC4C5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398" y="2198922"/>
              <a:ext cx="87929" cy="105197"/>
            </a:xfrm>
            <a:custGeom>
              <a:avLst/>
              <a:gdLst>
                <a:gd name="T0" fmla="*/ 33 w 42"/>
                <a:gd name="T1" fmla="*/ 51 h 51"/>
                <a:gd name="T2" fmla="*/ 31 w 42"/>
                <a:gd name="T3" fmla="*/ 51 h 51"/>
                <a:gd name="T4" fmla="*/ 31 w 42"/>
                <a:gd name="T5" fmla="*/ 47 h 51"/>
                <a:gd name="T6" fmla="*/ 26 w 42"/>
                <a:gd name="T7" fmla="*/ 14 h 51"/>
                <a:gd name="T8" fmla="*/ 3 w 42"/>
                <a:gd name="T9" fmla="*/ 7 h 51"/>
                <a:gd name="T10" fmla="*/ 0 w 42"/>
                <a:gd name="T11" fmla="*/ 5 h 51"/>
                <a:gd name="T12" fmla="*/ 2 w 42"/>
                <a:gd name="T13" fmla="*/ 2 h 51"/>
                <a:gd name="T14" fmla="*/ 30 w 42"/>
                <a:gd name="T15" fmla="*/ 11 h 51"/>
                <a:gd name="T16" fmla="*/ 35 w 42"/>
                <a:gd name="T17" fmla="*/ 50 h 51"/>
                <a:gd name="T18" fmla="*/ 33 w 4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7" name="Freeform 1536">
              <a:extLst>
                <a:ext uri="{FF2B5EF4-FFF2-40B4-BE49-F238E27FC236}">
                  <a16:creationId xmlns:a16="http://schemas.microsoft.com/office/drawing/2014/main" id="{18A7B8D4-01CD-1859-71DB-A919C9F0E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93" y="2317089"/>
              <a:ext cx="54223" cy="50437"/>
            </a:xfrm>
            <a:custGeom>
              <a:avLst/>
              <a:gdLst>
                <a:gd name="T0" fmla="*/ 23 w 26"/>
                <a:gd name="T1" fmla="*/ 25 h 25"/>
                <a:gd name="T2" fmla="*/ 21 w 26"/>
                <a:gd name="T3" fmla="*/ 25 h 25"/>
                <a:gd name="T4" fmla="*/ 1 w 26"/>
                <a:gd name="T5" fmla="*/ 4 h 25"/>
                <a:gd name="T6" fmla="*/ 1 w 26"/>
                <a:gd name="T7" fmla="*/ 1 h 25"/>
                <a:gd name="T8" fmla="*/ 5 w 26"/>
                <a:gd name="T9" fmla="*/ 1 h 25"/>
                <a:gd name="T10" fmla="*/ 25 w 26"/>
                <a:gd name="T11" fmla="*/ 21 h 25"/>
                <a:gd name="T12" fmla="*/ 25 w 26"/>
                <a:gd name="T13" fmla="*/ 25 h 25"/>
                <a:gd name="T14" fmla="*/ 23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8" name="Freeform 1537">
              <a:extLst>
                <a:ext uri="{FF2B5EF4-FFF2-40B4-BE49-F238E27FC236}">
                  <a16:creationId xmlns:a16="http://schemas.microsoft.com/office/drawing/2014/main" id="{29BB2F53-1473-0CED-E59B-955E6576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96" y="2396347"/>
              <a:ext cx="55689" cy="53320"/>
            </a:xfrm>
            <a:custGeom>
              <a:avLst/>
              <a:gdLst>
                <a:gd name="T0" fmla="*/ 24 w 27"/>
                <a:gd name="T1" fmla="*/ 26 h 26"/>
                <a:gd name="T2" fmla="*/ 22 w 27"/>
                <a:gd name="T3" fmla="*/ 26 h 26"/>
                <a:gd name="T4" fmla="*/ 1 w 27"/>
                <a:gd name="T5" fmla="*/ 4 h 26"/>
                <a:gd name="T6" fmla="*/ 1 w 27"/>
                <a:gd name="T7" fmla="*/ 1 h 26"/>
                <a:gd name="T8" fmla="*/ 5 w 27"/>
                <a:gd name="T9" fmla="*/ 1 h 26"/>
                <a:gd name="T10" fmla="*/ 26 w 27"/>
                <a:gd name="T11" fmla="*/ 22 h 26"/>
                <a:gd name="T12" fmla="*/ 26 w 27"/>
                <a:gd name="T13" fmla="*/ 26 h 26"/>
                <a:gd name="T14" fmla="*/ 24 w 2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39" name="Freeform 1538">
              <a:extLst>
                <a:ext uri="{FF2B5EF4-FFF2-40B4-BE49-F238E27FC236}">
                  <a16:creationId xmlns:a16="http://schemas.microsoft.com/office/drawing/2014/main" id="{9FCB769C-1895-20AE-725A-9BD0F4E47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78" y="2295472"/>
              <a:ext cx="136291" cy="134018"/>
            </a:xfrm>
            <a:custGeom>
              <a:avLst/>
              <a:gdLst>
                <a:gd name="T0" fmla="*/ 63 w 65"/>
                <a:gd name="T1" fmla="*/ 65 h 65"/>
                <a:gd name="T2" fmla="*/ 61 w 65"/>
                <a:gd name="T3" fmla="*/ 64 h 65"/>
                <a:gd name="T4" fmla="*/ 1 w 65"/>
                <a:gd name="T5" fmla="*/ 4 h 65"/>
                <a:gd name="T6" fmla="*/ 1 w 65"/>
                <a:gd name="T7" fmla="*/ 1 h 65"/>
                <a:gd name="T8" fmla="*/ 4 w 65"/>
                <a:gd name="T9" fmla="*/ 1 h 65"/>
                <a:gd name="T10" fmla="*/ 64 w 65"/>
                <a:gd name="T11" fmla="*/ 61 h 65"/>
                <a:gd name="T12" fmla="*/ 64 w 65"/>
                <a:gd name="T13" fmla="*/ 64 h 65"/>
                <a:gd name="T14" fmla="*/ 63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0" name="Freeform 1539">
              <a:extLst>
                <a:ext uri="{FF2B5EF4-FFF2-40B4-BE49-F238E27FC236}">
                  <a16:creationId xmlns:a16="http://schemas.microsoft.com/office/drawing/2014/main" id="{8F9239CF-6507-919A-13E3-805BD0FB7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269" y="2404994"/>
              <a:ext cx="137756" cy="136901"/>
            </a:xfrm>
            <a:custGeom>
              <a:avLst/>
              <a:gdLst>
                <a:gd name="T0" fmla="*/ 34 w 66"/>
                <a:gd name="T1" fmla="*/ 67 h 67"/>
                <a:gd name="T2" fmla="*/ 12 w 66"/>
                <a:gd name="T3" fmla="*/ 57 h 67"/>
                <a:gd name="T4" fmla="*/ 7 w 66"/>
                <a:gd name="T5" fmla="*/ 19 h 67"/>
                <a:gd name="T6" fmla="*/ 10 w 66"/>
                <a:gd name="T7" fmla="*/ 18 h 67"/>
                <a:gd name="T8" fmla="*/ 11 w 66"/>
                <a:gd name="T9" fmla="*/ 21 h 67"/>
                <a:gd name="T10" fmla="*/ 16 w 66"/>
                <a:gd name="T11" fmla="*/ 54 h 67"/>
                <a:gd name="T12" fmla="*/ 34 w 66"/>
                <a:gd name="T13" fmla="*/ 62 h 67"/>
                <a:gd name="T14" fmla="*/ 53 w 66"/>
                <a:gd name="T15" fmla="*/ 54 h 67"/>
                <a:gd name="T16" fmla="*/ 61 w 66"/>
                <a:gd name="T17" fmla="*/ 35 h 67"/>
                <a:gd name="T18" fmla="*/ 53 w 66"/>
                <a:gd name="T19" fmla="*/ 16 h 67"/>
                <a:gd name="T20" fmla="*/ 21 w 66"/>
                <a:gd name="T21" fmla="*/ 12 h 67"/>
                <a:gd name="T22" fmla="*/ 18 w 66"/>
                <a:gd name="T23" fmla="*/ 11 h 67"/>
                <a:gd name="T24" fmla="*/ 18 w 66"/>
                <a:gd name="T25" fmla="*/ 7 h 67"/>
                <a:gd name="T26" fmla="*/ 57 w 66"/>
                <a:gd name="T27" fmla="*/ 12 h 67"/>
                <a:gd name="T28" fmla="*/ 66 w 66"/>
                <a:gd name="T29" fmla="*/ 35 h 67"/>
                <a:gd name="T30" fmla="*/ 57 w 66"/>
                <a:gd name="T31" fmla="*/ 57 h 67"/>
                <a:gd name="T32" fmla="*/ 34 w 66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7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1" name="Freeform 1540">
              <a:extLst>
                <a:ext uri="{FF2B5EF4-FFF2-40B4-BE49-F238E27FC236}">
                  <a16:creationId xmlns:a16="http://schemas.microsoft.com/office/drawing/2014/main" id="{0B647834-F2F7-CCD6-3E31-93AACB98A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40" y="2213333"/>
              <a:ext cx="171461" cy="171489"/>
            </a:xfrm>
            <a:custGeom>
              <a:avLst/>
              <a:gdLst>
                <a:gd name="T0" fmla="*/ 2 w 82"/>
                <a:gd name="T1" fmla="*/ 83 h 83"/>
                <a:gd name="T2" fmla="*/ 1 w 82"/>
                <a:gd name="T3" fmla="*/ 82 h 83"/>
                <a:gd name="T4" fmla="*/ 1 w 82"/>
                <a:gd name="T5" fmla="*/ 78 h 83"/>
                <a:gd name="T6" fmla="*/ 78 w 82"/>
                <a:gd name="T7" fmla="*/ 1 h 83"/>
                <a:gd name="T8" fmla="*/ 81 w 82"/>
                <a:gd name="T9" fmla="*/ 1 h 83"/>
                <a:gd name="T10" fmla="*/ 81 w 82"/>
                <a:gd name="T11" fmla="*/ 5 h 83"/>
                <a:gd name="T12" fmla="*/ 4 w 82"/>
                <a:gd name="T13" fmla="*/ 82 h 83"/>
                <a:gd name="T14" fmla="*/ 2 w 8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83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2" name="Freeform 1541">
              <a:extLst>
                <a:ext uri="{FF2B5EF4-FFF2-40B4-BE49-F238E27FC236}">
                  <a16:creationId xmlns:a16="http://schemas.microsoft.com/office/drawing/2014/main" id="{4B2FB95C-3A5A-4852-1CA2-6FFF84F06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568" y="2376174"/>
              <a:ext cx="167066" cy="159960"/>
            </a:xfrm>
            <a:custGeom>
              <a:avLst/>
              <a:gdLst>
                <a:gd name="T0" fmla="*/ 26 w 80"/>
                <a:gd name="T1" fmla="*/ 78 h 78"/>
                <a:gd name="T2" fmla="*/ 20 w 80"/>
                <a:gd name="T3" fmla="*/ 76 h 78"/>
                <a:gd name="T4" fmla="*/ 4 w 80"/>
                <a:gd name="T5" fmla="*/ 60 h 78"/>
                <a:gd name="T6" fmla="*/ 4 w 80"/>
                <a:gd name="T7" fmla="*/ 48 h 78"/>
                <a:gd name="T8" fmla="*/ 49 w 80"/>
                <a:gd name="T9" fmla="*/ 3 h 78"/>
                <a:gd name="T10" fmla="*/ 55 w 80"/>
                <a:gd name="T11" fmla="*/ 0 h 78"/>
                <a:gd name="T12" fmla="*/ 61 w 80"/>
                <a:gd name="T13" fmla="*/ 3 h 78"/>
                <a:gd name="T14" fmla="*/ 77 w 80"/>
                <a:gd name="T15" fmla="*/ 19 h 78"/>
                <a:gd name="T16" fmla="*/ 77 w 80"/>
                <a:gd name="T17" fmla="*/ 31 h 78"/>
                <a:gd name="T18" fmla="*/ 32 w 80"/>
                <a:gd name="T19" fmla="*/ 76 h 78"/>
                <a:gd name="T20" fmla="*/ 26 w 80"/>
                <a:gd name="T21" fmla="*/ 78 h 78"/>
                <a:gd name="T22" fmla="*/ 55 w 80"/>
                <a:gd name="T23" fmla="*/ 5 h 78"/>
                <a:gd name="T24" fmla="*/ 52 w 80"/>
                <a:gd name="T25" fmla="*/ 7 h 78"/>
                <a:gd name="T26" fmla="*/ 7 w 80"/>
                <a:gd name="T27" fmla="*/ 51 h 78"/>
                <a:gd name="T28" fmla="*/ 7 w 80"/>
                <a:gd name="T29" fmla="*/ 57 h 78"/>
                <a:gd name="T30" fmla="*/ 23 w 80"/>
                <a:gd name="T31" fmla="*/ 72 h 78"/>
                <a:gd name="T32" fmla="*/ 28 w 80"/>
                <a:gd name="T33" fmla="*/ 72 h 78"/>
                <a:gd name="T34" fmla="*/ 73 w 80"/>
                <a:gd name="T35" fmla="*/ 28 h 78"/>
                <a:gd name="T36" fmla="*/ 73 w 80"/>
                <a:gd name="T37" fmla="*/ 22 h 78"/>
                <a:gd name="T38" fmla="*/ 58 w 80"/>
                <a:gd name="T39" fmla="*/ 7 h 78"/>
                <a:gd name="T40" fmla="*/ 55 w 80"/>
                <a:gd name="T41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8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3" name="Freeform 1542">
              <a:extLst>
                <a:ext uri="{FF2B5EF4-FFF2-40B4-BE49-F238E27FC236}">
                  <a16:creationId xmlns:a16="http://schemas.microsoft.com/office/drawing/2014/main" id="{ACE1707E-042A-E3DF-887C-86F1ADC41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75" y="2357439"/>
              <a:ext cx="67410" cy="63406"/>
            </a:xfrm>
            <a:custGeom>
              <a:avLst/>
              <a:gdLst>
                <a:gd name="T0" fmla="*/ 19 w 32"/>
                <a:gd name="T1" fmla="*/ 31 h 31"/>
                <a:gd name="T2" fmla="*/ 14 w 32"/>
                <a:gd name="T3" fmla="*/ 29 h 31"/>
                <a:gd name="T4" fmla="*/ 2 w 32"/>
                <a:gd name="T5" fmla="*/ 17 h 31"/>
                <a:gd name="T6" fmla="*/ 0 w 32"/>
                <a:gd name="T7" fmla="*/ 12 h 31"/>
                <a:gd name="T8" fmla="*/ 2 w 32"/>
                <a:gd name="T9" fmla="*/ 7 h 31"/>
                <a:gd name="T10" fmla="*/ 7 w 32"/>
                <a:gd name="T11" fmla="*/ 3 h 31"/>
                <a:gd name="T12" fmla="*/ 12 w 32"/>
                <a:gd name="T13" fmla="*/ 0 h 31"/>
                <a:gd name="T14" fmla="*/ 17 w 32"/>
                <a:gd name="T15" fmla="*/ 3 h 31"/>
                <a:gd name="T16" fmla="*/ 29 w 32"/>
                <a:gd name="T17" fmla="*/ 14 h 31"/>
                <a:gd name="T18" fmla="*/ 29 w 32"/>
                <a:gd name="T19" fmla="*/ 24 h 31"/>
                <a:gd name="T20" fmla="*/ 24 w 32"/>
                <a:gd name="T21" fmla="*/ 29 h 31"/>
                <a:gd name="T22" fmla="*/ 19 w 32"/>
                <a:gd name="T23" fmla="*/ 31 h 31"/>
                <a:gd name="T24" fmla="*/ 12 w 32"/>
                <a:gd name="T25" fmla="*/ 5 h 31"/>
                <a:gd name="T26" fmla="*/ 11 w 32"/>
                <a:gd name="T27" fmla="*/ 6 h 31"/>
                <a:gd name="T28" fmla="*/ 6 w 32"/>
                <a:gd name="T29" fmla="*/ 11 h 31"/>
                <a:gd name="T30" fmla="*/ 5 w 32"/>
                <a:gd name="T31" fmla="*/ 12 h 31"/>
                <a:gd name="T32" fmla="*/ 6 w 32"/>
                <a:gd name="T33" fmla="*/ 14 h 31"/>
                <a:gd name="T34" fmla="*/ 18 w 32"/>
                <a:gd name="T35" fmla="*/ 26 h 31"/>
                <a:gd name="T36" fmla="*/ 21 w 32"/>
                <a:gd name="T37" fmla="*/ 26 h 31"/>
                <a:gd name="T38" fmla="*/ 24 w 32"/>
                <a:gd name="T39" fmla="*/ 23 h 31"/>
                <a:gd name="T40" fmla="*/ 24 w 32"/>
                <a:gd name="T41" fmla="*/ 23 h 31"/>
                <a:gd name="T42" fmla="*/ 26 w 32"/>
                <a:gd name="T43" fmla="*/ 21 h 31"/>
                <a:gd name="T44" fmla="*/ 26 w 32"/>
                <a:gd name="T45" fmla="*/ 18 h 31"/>
                <a:gd name="T46" fmla="*/ 14 w 32"/>
                <a:gd name="T47" fmla="*/ 6 h 31"/>
                <a:gd name="T48" fmla="*/ 12 w 32"/>
                <a:gd name="T4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1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  <p:sp>
          <p:nvSpPr>
            <p:cNvPr id="144" name="Freeform 1543">
              <a:extLst>
                <a:ext uri="{FF2B5EF4-FFF2-40B4-BE49-F238E27FC236}">
                  <a16:creationId xmlns:a16="http://schemas.microsoft.com/office/drawing/2014/main" id="{1405FB43-D563-B677-3323-E4346B34C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58" y="2213333"/>
              <a:ext cx="29310" cy="28820"/>
            </a:xfrm>
            <a:custGeom>
              <a:avLst/>
              <a:gdLst>
                <a:gd name="T0" fmla="*/ 4 w 14"/>
                <a:gd name="T1" fmla="*/ 14 h 14"/>
                <a:gd name="T2" fmla="*/ 1 w 14"/>
                <a:gd name="T3" fmla="*/ 13 h 14"/>
                <a:gd name="T4" fmla="*/ 1 w 14"/>
                <a:gd name="T5" fmla="*/ 13 h 14"/>
                <a:gd name="T6" fmla="*/ 1 w 14"/>
                <a:gd name="T7" fmla="*/ 8 h 14"/>
                <a:gd name="T8" fmla="*/ 8 w 14"/>
                <a:gd name="T9" fmla="*/ 1 h 14"/>
                <a:gd name="T10" fmla="*/ 13 w 14"/>
                <a:gd name="T11" fmla="*/ 1 h 14"/>
                <a:gd name="T12" fmla="*/ 14 w 14"/>
                <a:gd name="T13" fmla="*/ 3 h 14"/>
                <a:gd name="T14" fmla="*/ 13 w 14"/>
                <a:gd name="T15" fmla="*/ 6 h 14"/>
                <a:gd name="T16" fmla="*/ 6 w 14"/>
                <a:gd name="T17" fmla="*/ 13 h 14"/>
                <a:gd name="T18" fmla="*/ 4 w 14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0199" tIns="100100" rIns="200199" bIns="10010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en-IN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82396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7</TotalTime>
  <Words>21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ase Stud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63</cp:revision>
  <dcterms:created xsi:type="dcterms:W3CDTF">2021-03-31T02:49:57Z</dcterms:created>
  <dcterms:modified xsi:type="dcterms:W3CDTF">2025-10-15T03:54:41Z</dcterms:modified>
  <cp:category/>
</cp:coreProperties>
</file>